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59" r:id="rId3"/>
    <p:sldId id="263" r:id="rId4"/>
    <p:sldId id="264" r:id="rId5"/>
    <p:sldId id="266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31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6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55F5C3-7C5B-4C31-9ACB-5A9F705CF4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3772C14-957D-4D37-BC8B-41FE12E2D0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F0C0DD-00D9-40A3-A94E-3149ADD3C8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48E21-5EA5-4D28-9303-29115AEDD1C2}" type="datetimeFigureOut">
              <a:rPr lang="en-US" smtClean="0"/>
              <a:t>11/16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9C6ED0-2830-4510-B657-944E33FF81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E7EECB-607C-4BC4-983B-58371E967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FA2E6-4A75-407D-A60F-044FBF2571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5528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51F34A-492C-4563-B2D2-3E5B89FC0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5FFA728-6D85-421A-B453-17AF73BC71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2450DC-AACA-4172-A2A2-A3EEDD1F27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48E21-5EA5-4D28-9303-29115AEDD1C2}" type="datetimeFigureOut">
              <a:rPr lang="en-US" smtClean="0"/>
              <a:t>11/16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BEC1D8-2770-4A8D-9FF1-06A1359F02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E1C80-3B1D-4381-BD6C-AB1DEA703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FA2E6-4A75-407D-A60F-044FBF2571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6035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483BC56-6A73-480C-BD1F-12C4DB5D65D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F404A8E-B62A-44CB-B322-6F54895B8AA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AF16DB-7FD0-4DA3-B3A4-B01AAA53FF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48E21-5EA5-4D28-9303-29115AEDD1C2}" type="datetimeFigureOut">
              <a:rPr lang="en-US" smtClean="0"/>
              <a:t>11/16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153CCA-223E-44E5-97D2-75598657D8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222F49-EAB2-4D86-BAF3-F7CC19F4C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FA2E6-4A75-407D-A60F-044FBF2571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2149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FDD88C-CD91-4E87-8A3C-06AFD0F61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C110B6-8355-4004-842C-A03FC45BE8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5652CB-E317-4E1A-AEE5-B3E1AB0D19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48E21-5EA5-4D28-9303-29115AEDD1C2}" type="datetimeFigureOut">
              <a:rPr lang="en-US" smtClean="0"/>
              <a:t>11/16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32F952-BD32-4A88-A5EE-FB0F84B52B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4F3E86-3A74-48DE-9F67-7CCE140D9E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FA2E6-4A75-407D-A60F-044FBF2571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2566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B0ACDE-19BF-493B-8128-4E9BE632F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C88687-02BE-4D03-9A6A-BA257D45BB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9839B5-DE0F-49E8-96CB-062516AB6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48E21-5EA5-4D28-9303-29115AEDD1C2}" type="datetimeFigureOut">
              <a:rPr lang="en-US" smtClean="0"/>
              <a:t>11/16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0E1219-3C7A-4D5F-851B-024509BFF5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B53BD3-71CA-4742-A5DE-CD088ADB63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FA2E6-4A75-407D-A60F-044FBF2571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8190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687FB4-C3B3-4B19-BD4B-3C21A38357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D0A0BD-5674-4027-AFE2-87C1F20631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FC7D490-2462-44C3-B33E-EBB36DF8C57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E3D770-E3B7-4D4D-B2F1-559309C2F3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48E21-5EA5-4D28-9303-29115AEDD1C2}" type="datetimeFigureOut">
              <a:rPr lang="en-US" smtClean="0"/>
              <a:t>11/16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9A4788-C1AE-40A5-807D-018D2920D1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13E8E9C-45A5-47F7-9D1A-EFB4F6716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FA2E6-4A75-407D-A60F-044FBF2571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8498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7C518D-DF4F-451C-B681-A3299FBD28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CD83AB-64AE-4BE5-84F4-6AB5ADA26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24FC60D-4795-4122-8B0C-D275E630025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02F599D-CEED-4D26-97D1-CA6886C1C5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FA08486-E0FB-4C75-9C3A-AC7CA875A65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906365B-2189-4EAE-AB4B-597641D64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48E21-5EA5-4D28-9303-29115AEDD1C2}" type="datetimeFigureOut">
              <a:rPr lang="en-US" smtClean="0"/>
              <a:t>11/16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6A2E84-2BC3-4C74-BEF8-5C41FF16ED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EB7C6A5-9209-4CE2-BB86-FD83BD51C0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FA2E6-4A75-407D-A60F-044FBF2571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0842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A0733C-D344-4E14-800B-ADB892354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628D92E-8259-435D-A7B5-FC46760DB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48E21-5EA5-4D28-9303-29115AEDD1C2}" type="datetimeFigureOut">
              <a:rPr lang="en-US" smtClean="0"/>
              <a:t>11/16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35213F-EBCF-4679-80E8-2C5A3DB84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6E7360-8BD7-4F4F-9714-137F6ADBD1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FA2E6-4A75-407D-A60F-044FBF2571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6562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FB59992-25CA-496F-8380-69011FC270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48E21-5EA5-4D28-9303-29115AEDD1C2}" type="datetimeFigureOut">
              <a:rPr lang="en-US" smtClean="0"/>
              <a:t>11/16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16C86D-958D-4D36-9C70-5601DF38E8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8CAA78-578E-4667-BAE0-1EF9543AA0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FA2E6-4A75-407D-A60F-044FBF2571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2869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C05DD2-54D9-4E0E-ABF8-CE0F8CDCAE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78B2BC-5903-4CBA-A3AD-95285956DB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4439D7-8B9E-43F1-A08D-F691362F9B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94D8A3-D566-49E3-8D71-D4C10989F3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48E21-5EA5-4D28-9303-29115AEDD1C2}" type="datetimeFigureOut">
              <a:rPr lang="en-US" smtClean="0"/>
              <a:t>11/16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72DFFE-4B44-4654-BE2C-788008857D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5A54DC-32E9-42D3-85C7-4F4DC1E1BF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FA2E6-4A75-407D-A60F-044FBF2571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79763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01C37A-C4B0-4D68-AEC6-1C75616FD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E946A3-4FA7-4288-B04C-1950B2ECFBC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2139B08-7682-43ED-9608-A2F2EBC0CF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40B00D-07C2-43B1-82B5-BEA191AF7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48E21-5EA5-4D28-9303-29115AEDD1C2}" type="datetimeFigureOut">
              <a:rPr lang="en-US" smtClean="0"/>
              <a:t>11/16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07D6C8C-E87A-4E28-A6C5-6E6B5173B9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40C2A1-B012-4838-A806-1423C63283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4FA2E6-4A75-407D-A60F-044FBF2571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69009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85CE9B2-8650-4222-B2A5-6FE3CFDC6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8AC8EA-A645-4356-A0C1-FF1A8586DD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CC58AD-5444-482C-BB1E-626665534A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B48E21-5EA5-4D28-9303-29115AEDD1C2}" type="datetimeFigureOut">
              <a:rPr lang="en-US" smtClean="0"/>
              <a:t>11/16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638955-7A73-475F-A0F0-B305DE12C3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46864D-DC74-493C-9FED-4A126D938F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4FA2E6-4A75-407D-A60F-044FBF2571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318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7.jp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image" Target="../media/image6.jpg"/><Relationship Id="rId2" Type="http://schemas.openxmlformats.org/officeDocument/2006/relationships/tags" Target="../tags/tag3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image" Target="../media/image3.emf"/><Relationship Id="rId5" Type="http://schemas.openxmlformats.org/officeDocument/2006/relationships/tags" Target="../tags/tag6.xml"/><Relationship Id="rId15" Type="http://schemas.openxmlformats.org/officeDocument/2006/relationships/image" Target="../media/image9.jpg"/><Relationship Id="rId10" Type="http://schemas.openxmlformats.org/officeDocument/2006/relationships/oleObject" Target="../embeddings/oleObject2.bin"/><Relationship Id="rId4" Type="http://schemas.openxmlformats.org/officeDocument/2006/relationships/tags" Target="../tags/tag5.xml"/><Relationship Id="rId9" Type="http://schemas.openxmlformats.org/officeDocument/2006/relationships/slideLayout" Target="../slideLayouts/slideLayout6.xml"/><Relationship Id="rId14" Type="http://schemas.openxmlformats.org/officeDocument/2006/relationships/image" Target="../media/image8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.xml"/><Relationship Id="rId7" Type="http://schemas.openxmlformats.org/officeDocument/2006/relationships/oleObject" Target="../embeddings/oleObject3.bin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8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32000">
              <a:schemeClr val="bg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7EE201-91A2-4540-8875-E8A3A079F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A0C9733-6B68-482B-A522-014ADE8519E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727" t="7455" r="13081" b="11186"/>
          <a:stretch/>
        </p:blipFill>
        <p:spPr>
          <a:xfrm>
            <a:off x="0" y="-1"/>
            <a:ext cx="12192000" cy="310661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D0C6E7B-3193-4CDB-BA99-06E79F83BA50}"/>
              </a:ext>
            </a:extLst>
          </p:cNvPr>
          <p:cNvSpPr txBox="1"/>
          <p:nvPr/>
        </p:nvSpPr>
        <p:spPr>
          <a:xfrm>
            <a:off x="1330569" y="3751386"/>
            <a:ext cx="9530861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accent6">
                    <a:lumMod val="50000"/>
                  </a:schemeClr>
                </a:solidFill>
              </a:rPr>
              <a:t>State of Innovation:</a:t>
            </a:r>
          </a:p>
          <a:p>
            <a:r>
              <a:rPr lang="en-US" sz="4400" dirty="0">
                <a:solidFill>
                  <a:schemeClr val="accent1">
                    <a:lumMod val="50000"/>
                  </a:schemeClr>
                </a:solidFill>
              </a:rPr>
              <a:t>Building a Stronger and Fairer Economy in New Jersey</a:t>
            </a:r>
          </a:p>
        </p:txBody>
      </p:sp>
    </p:spTree>
    <p:extLst>
      <p:ext uri="{BB962C8B-B14F-4D97-AF65-F5344CB8AC3E}">
        <p14:creationId xmlns:p14="http://schemas.microsoft.com/office/powerpoint/2010/main" val="39220467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6754367" y="19811"/>
            <a:ext cx="0" cy="151130"/>
          </a:xfrm>
          <a:custGeom>
            <a:avLst/>
            <a:gdLst/>
            <a:ahLst/>
            <a:cxnLst/>
            <a:rect l="l" t="t" r="r" b="b"/>
            <a:pathLst>
              <a:path h="151130">
                <a:moveTo>
                  <a:pt x="0" y="0"/>
                </a:moveTo>
                <a:lnTo>
                  <a:pt x="0" y="150749"/>
                </a:lnTo>
              </a:path>
            </a:pathLst>
          </a:custGeom>
          <a:ln w="9144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6755130" y="171450"/>
            <a:ext cx="3686175" cy="0"/>
          </a:xfrm>
          <a:custGeom>
            <a:avLst/>
            <a:gdLst/>
            <a:ahLst/>
            <a:cxnLst/>
            <a:rect l="l" t="t" r="r" b="b"/>
            <a:pathLst>
              <a:path w="3686175">
                <a:moveTo>
                  <a:pt x="0" y="0"/>
                </a:moveTo>
                <a:lnTo>
                  <a:pt x="3685794" y="0"/>
                </a:lnTo>
              </a:path>
            </a:pathLst>
          </a:custGeom>
          <a:ln w="25908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528599" y="1361127"/>
            <a:ext cx="11327482" cy="49064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04470" marR="5080" indent="-191770">
              <a:buClr>
                <a:srgbClr val="094FA2"/>
              </a:buClr>
              <a:buSzPct val="125000"/>
              <a:buChar char="▪"/>
              <a:tabLst>
                <a:tab pos="205104" algn="l"/>
              </a:tabLst>
            </a:pPr>
            <a:r>
              <a:rPr sz="2400" spc="-5" dirty="0">
                <a:latin typeface="Arial"/>
                <a:cs typeface="Arial"/>
              </a:rPr>
              <a:t>New Jersey is a state </a:t>
            </a:r>
            <a:r>
              <a:rPr sz="2400" spc="-10" dirty="0">
                <a:latin typeface="Arial"/>
                <a:cs typeface="Arial"/>
              </a:rPr>
              <a:t>with </a:t>
            </a:r>
            <a:r>
              <a:rPr sz="2400" spc="-5" dirty="0">
                <a:latin typeface="Arial"/>
                <a:cs typeface="Arial"/>
              </a:rPr>
              <a:t>rich economic assets, including a </a:t>
            </a:r>
            <a:r>
              <a:rPr sz="2400" b="1" spc="-5" dirty="0">
                <a:solidFill>
                  <a:srgbClr val="094FA2"/>
                </a:solidFill>
                <a:latin typeface="Arial"/>
                <a:cs typeface="Arial"/>
              </a:rPr>
              <a:t>highly talented </a:t>
            </a:r>
            <a:r>
              <a:rPr sz="2400" b="1" dirty="0">
                <a:solidFill>
                  <a:srgbClr val="094FA2"/>
                </a:solidFill>
                <a:latin typeface="Arial"/>
                <a:cs typeface="Arial"/>
              </a:rPr>
              <a:t>workforce </a:t>
            </a:r>
            <a:r>
              <a:rPr sz="2400" spc="-5" dirty="0">
                <a:latin typeface="Arial"/>
                <a:cs typeface="Arial"/>
              </a:rPr>
              <a:t>(2</a:t>
            </a:r>
            <a:r>
              <a:rPr sz="2400" spc="-7" baseline="26455" dirty="0">
                <a:latin typeface="Arial"/>
                <a:cs typeface="Arial"/>
              </a:rPr>
              <a:t>nd  </a:t>
            </a:r>
            <a:r>
              <a:rPr sz="2400" spc="-5" dirty="0">
                <a:latin typeface="Arial"/>
                <a:cs typeface="Arial"/>
              </a:rPr>
              <a:t>ranked education </a:t>
            </a:r>
            <a:r>
              <a:rPr sz="2400" spc="-10" dirty="0">
                <a:latin typeface="Arial"/>
                <a:cs typeface="Arial"/>
              </a:rPr>
              <a:t>system </a:t>
            </a:r>
            <a:r>
              <a:rPr sz="2400" spc="-5" dirty="0">
                <a:latin typeface="Arial"/>
                <a:cs typeface="Arial"/>
              </a:rPr>
              <a:t>in the US, highest concentration of scientists and engineers </a:t>
            </a:r>
            <a:r>
              <a:rPr sz="2400" dirty="0">
                <a:latin typeface="Arial"/>
                <a:cs typeface="Arial"/>
              </a:rPr>
              <a:t>in </a:t>
            </a:r>
            <a:r>
              <a:rPr sz="2400" spc="-5" dirty="0">
                <a:latin typeface="Arial"/>
                <a:cs typeface="Arial"/>
              </a:rPr>
              <a:t>the  world per square mile), </a:t>
            </a:r>
            <a:r>
              <a:rPr sz="2400" b="1" spc="-5" dirty="0">
                <a:solidFill>
                  <a:srgbClr val="094FA2"/>
                </a:solidFill>
                <a:latin typeface="Arial"/>
                <a:cs typeface="Arial"/>
              </a:rPr>
              <a:t>rich global </a:t>
            </a:r>
            <a:r>
              <a:rPr sz="2400" b="1" spc="-10" dirty="0">
                <a:solidFill>
                  <a:srgbClr val="094FA2"/>
                </a:solidFill>
                <a:latin typeface="Arial"/>
                <a:cs typeface="Arial"/>
              </a:rPr>
              <a:t>diversity </a:t>
            </a:r>
            <a:r>
              <a:rPr sz="2400" dirty="0">
                <a:latin typeface="Arial"/>
                <a:cs typeface="Arial"/>
              </a:rPr>
              <a:t>(3</a:t>
            </a:r>
            <a:r>
              <a:rPr sz="2400" baseline="26455" dirty="0">
                <a:latin typeface="Arial"/>
                <a:cs typeface="Arial"/>
              </a:rPr>
              <a:t>rd </a:t>
            </a:r>
            <a:r>
              <a:rPr sz="2400" spc="-5" dirty="0">
                <a:latin typeface="Arial"/>
                <a:cs typeface="Arial"/>
              </a:rPr>
              <a:t>highest composition of foreign-born  residents in the US), </a:t>
            </a:r>
            <a:r>
              <a:rPr sz="2400" b="1" spc="-5" dirty="0">
                <a:solidFill>
                  <a:srgbClr val="094FA2"/>
                </a:solidFill>
                <a:latin typeface="Arial"/>
                <a:cs typeface="Arial"/>
              </a:rPr>
              <a:t>strong organic industry clusters </a:t>
            </a:r>
            <a:r>
              <a:rPr sz="2400" spc="-5" dirty="0">
                <a:latin typeface="Arial"/>
                <a:cs typeface="Arial"/>
              </a:rPr>
              <a:t>(22 Fortune 500 headquarters, 400+  biotechnology companies), and a </a:t>
            </a:r>
            <a:r>
              <a:rPr sz="2400" b="1" spc="-5" dirty="0">
                <a:solidFill>
                  <a:srgbClr val="094FA2"/>
                </a:solidFill>
                <a:latin typeface="Arial"/>
                <a:cs typeface="Arial"/>
              </a:rPr>
              <a:t>strategic geographic </a:t>
            </a:r>
            <a:r>
              <a:rPr sz="2400" b="1" spc="-10" dirty="0">
                <a:solidFill>
                  <a:srgbClr val="094FA2"/>
                </a:solidFill>
                <a:latin typeface="Arial"/>
                <a:cs typeface="Arial"/>
              </a:rPr>
              <a:t>advantage </a:t>
            </a:r>
            <a:r>
              <a:rPr sz="2400" spc="-5" dirty="0">
                <a:latin typeface="Arial"/>
                <a:cs typeface="Arial"/>
              </a:rPr>
              <a:t>in the center of the  densely populated, talent-rich Northeast</a:t>
            </a:r>
            <a:r>
              <a:rPr sz="2400" spc="80" dirty="0">
                <a:latin typeface="Arial"/>
                <a:cs typeface="Arial"/>
              </a:rPr>
              <a:t> </a:t>
            </a:r>
            <a:r>
              <a:rPr sz="2400" spc="-5" dirty="0">
                <a:latin typeface="Arial"/>
                <a:cs typeface="Arial"/>
              </a:rPr>
              <a:t>corridor</a:t>
            </a:r>
            <a:endParaRPr sz="2400" dirty="0">
              <a:latin typeface="Arial"/>
              <a:cs typeface="Arial"/>
            </a:endParaRPr>
          </a:p>
          <a:p>
            <a:pPr marL="204470" indent="-191770">
              <a:spcBef>
                <a:spcPts val="1200"/>
              </a:spcBef>
              <a:buClr>
                <a:srgbClr val="094FA2"/>
              </a:buClr>
              <a:buSzPct val="125000"/>
              <a:buChar char="▪"/>
              <a:tabLst>
                <a:tab pos="205104" algn="l"/>
              </a:tabLst>
            </a:pPr>
            <a:r>
              <a:rPr sz="2400" spc="-5" dirty="0">
                <a:latin typeface="Arial"/>
                <a:cs typeface="Arial"/>
              </a:rPr>
              <a:t>Despite these assets, NJ has experienced </a:t>
            </a:r>
            <a:r>
              <a:rPr sz="2400" b="1" spc="-5" dirty="0">
                <a:solidFill>
                  <a:srgbClr val="094FA2"/>
                </a:solidFill>
                <a:latin typeface="Arial"/>
                <a:cs typeface="Arial"/>
              </a:rPr>
              <a:t>stagnant economic </a:t>
            </a:r>
            <a:r>
              <a:rPr sz="2400" b="1" dirty="0">
                <a:solidFill>
                  <a:srgbClr val="094FA2"/>
                </a:solidFill>
                <a:latin typeface="Arial"/>
                <a:cs typeface="Arial"/>
              </a:rPr>
              <a:t>growth</a:t>
            </a:r>
            <a:r>
              <a:rPr sz="2400" b="1" spc="175" dirty="0">
                <a:solidFill>
                  <a:srgbClr val="094FA2"/>
                </a:solidFill>
                <a:latin typeface="Arial"/>
                <a:cs typeface="Arial"/>
              </a:rPr>
              <a:t> </a:t>
            </a:r>
            <a:r>
              <a:rPr sz="2400" spc="-5" dirty="0">
                <a:latin typeface="Arial"/>
                <a:cs typeface="Arial"/>
              </a:rPr>
              <a:t>alongside</a:t>
            </a:r>
            <a:endParaRPr sz="2400" dirty="0">
              <a:latin typeface="Arial"/>
              <a:cs typeface="Arial"/>
            </a:endParaRPr>
          </a:p>
          <a:p>
            <a:pPr marL="204470"/>
            <a:r>
              <a:rPr sz="2400" b="1" spc="-5" dirty="0">
                <a:solidFill>
                  <a:srgbClr val="094FA2"/>
                </a:solidFill>
                <a:latin typeface="Arial"/>
                <a:cs typeface="Arial"/>
              </a:rPr>
              <a:t>diminishing access to economic opportunity </a:t>
            </a:r>
            <a:r>
              <a:rPr sz="2400" spc="-5" dirty="0">
                <a:latin typeface="Arial"/>
                <a:cs typeface="Arial"/>
              </a:rPr>
              <a:t>over the past decade,</a:t>
            </a:r>
            <a:r>
              <a:rPr sz="2400" spc="260" dirty="0">
                <a:latin typeface="Arial"/>
                <a:cs typeface="Arial"/>
              </a:rPr>
              <a:t> </a:t>
            </a:r>
            <a:r>
              <a:rPr sz="2400" spc="-5" dirty="0">
                <a:latin typeface="Arial"/>
                <a:cs typeface="Arial"/>
              </a:rPr>
              <a:t>including:</a:t>
            </a:r>
            <a:endParaRPr sz="2400" dirty="0">
              <a:latin typeface="Arial"/>
              <a:cs typeface="Arial"/>
            </a:endParaRPr>
          </a:p>
          <a:p>
            <a:pPr marL="467995" lvl="1" indent="-262255">
              <a:spcBef>
                <a:spcPts val="900"/>
              </a:spcBef>
              <a:buClr>
                <a:srgbClr val="094FA2"/>
              </a:buClr>
              <a:buSzPct val="118750"/>
              <a:buChar char="–"/>
              <a:tabLst>
                <a:tab pos="468630" algn="l"/>
              </a:tabLst>
            </a:pPr>
            <a:r>
              <a:rPr sz="2400" spc="-5" dirty="0">
                <a:latin typeface="Arial"/>
                <a:cs typeface="Arial"/>
              </a:rPr>
              <a:t>0.2% </a:t>
            </a:r>
            <a:r>
              <a:rPr sz="2400" spc="-10" dirty="0">
                <a:latin typeface="Arial"/>
                <a:cs typeface="Arial"/>
              </a:rPr>
              <a:t>GDP </a:t>
            </a:r>
            <a:r>
              <a:rPr sz="2400" spc="-5" dirty="0">
                <a:latin typeface="Arial"/>
                <a:cs typeface="Arial"/>
              </a:rPr>
              <a:t>growth (46th in the US from</a:t>
            </a:r>
            <a:r>
              <a:rPr sz="2400" spc="95" dirty="0">
                <a:latin typeface="Arial"/>
                <a:cs typeface="Arial"/>
              </a:rPr>
              <a:t> </a:t>
            </a:r>
            <a:r>
              <a:rPr sz="2400" spc="-5" dirty="0">
                <a:latin typeface="Arial"/>
                <a:cs typeface="Arial"/>
              </a:rPr>
              <a:t>2007-2017)</a:t>
            </a:r>
            <a:endParaRPr sz="2400" dirty="0">
              <a:latin typeface="Arial"/>
              <a:cs typeface="Arial"/>
            </a:endParaRPr>
          </a:p>
          <a:p>
            <a:pPr marL="467995" lvl="1" indent="-262255">
              <a:spcBef>
                <a:spcPts val="835"/>
              </a:spcBef>
              <a:buClr>
                <a:srgbClr val="094FA2"/>
              </a:buClr>
              <a:buSzPct val="118750"/>
              <a:buChar char="–"/>
              <a:tabLst>
                <a:tab pos="468630" algn="l"/>
              </a:tabLst>
            </a:pPr>
            <a:r>
              <a:rPr sz="2400" spc="-5" dirty="0">
                <a:latin typeface="Arial"/>
                <a:cs typeface="Arial"/>
              </a:rPr>
              <a:t>-1.7% real median income growth </a:t>
            </a:r>
            <a:r>
              <a:rPr sz="2400" dirty="0">
                <a:latin typeface="Arial"/>
                <a:cs typeface="Arial"/>
              </a:rPr>
              <a:t>(50</a:t>
            </a:r>
            <a:r>
              <a:rPr sz="2400" baseline="26455" dirty="0">
                <a:latin typeface="Arial"/>
                <a:cs typeface="Arial"/>
              </a:rPr>
              <a:t>th  </a:t>
            </a:r>
            <a:r>
              <a:rPr sz="2400" spc="-5" dirty="0">
                <a:latin typeface="Arial"/>
                <a:cs typeface="Arial"/>
              </a:rPr>
              <a:t>in the US from</a:t>
            </a:r>
            <a:r>
              <a:rPr sz="2400" spc="10" dirty="0">
                <a:latin typeface="Arial"/>
                <a:cs typeface="Arial"/>
              </a:rPr>
              <a:t> </a:t>
            </a:r>
            <a:r>
              <a:rPr sz="2400" spc="-5" dirty="0">
                <a:latin typeface="Arial"/>
                <a:cs typeface="Arial"/>
              </a:rPr>
              <a:t>2006-2016)</a:t>
            </a:r>
            <a:endParaRPr sz="2400" dirty="0">
              <a:latin typeface="Arial"/>
              <a:cs typeface="Arial"/>
            </a:endParaRPr>
          </a:p>
          <a:p>
            <a:pPr marL="467995" lvl="1" indent="-262255">
              <a:spcBef>
                <a:spcPts val="835"/>
              </a:spcBef>
              <a:buClr>
                <a:srgbClr val="094FA2"/>
              </a:buClr>
              <a:buSzPct val="118750"/>
              <a:buChar char="–"/>
              <a:tabLst>
                <a:tab pos="468630" algn="l"/>
              </a:tabLst>
            </a:pPr>
            <a:r>
              <a:rPr sz="2400" spc="-5" dirty="0">
                <a:latin typeface="Arial"/>
                <a:cs typeface="Arial"/>
              </a:rPr>
              <a:t>1.7 percentage point increase </a:t>
            </a:r>
            <a:r>
              <a:rPr sz="2400" dirty="0">
                <a:latin typeface="Arial"/>
                <a:cs typeface="Arial"/>
              </a:rPr>
              <a:t>in </a:t>
            </a:r>
            <a:r>
              <a:rPr sz="2400" spc="-5" dirty="0">
                <a:latin typeface="Arial"/>
                <a:cs typeface="Arial"/>
              </a:rPr>
              <a:t>poverty rate (47th in the US from</a:t>
            </a:r>
            <a:r>
              <a:rPr sz="2400" spc="220" dirty="0">
                <a:latin typeface="Arial"/>
                <a:cs typeface="Arial"/>
              </a:rPr>
              <a:t> </a:t>
            </a:r>
            <a:r>
              <a:rPr sz="2400" spc="-5" dirty="0">
                <a:latin typeface="Arial"/>
                <a:cs typeface="Arial"/>
              </a:rPr>
              <a:t>2006-2016)</a:t>
            </a:r>
            <a:endParaRPr sz="2400" dirty="0">
              <a:latin typeface="Arial"/>
              <a:cs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F092DB3-6ACF-4E17-A396-9B8B0FC0F459}"/>
              </a:ext>
            </a:extLst>
          </p:cNvPr>
          <p:cNvSpPr/>
          <p:nvPr/>
        </p:nvSpPr>
        <p:spPr bwMode="auto">
          <a:xfrm>
            <a:off x="0" y="-2"/>
            <a:ext cx="12192000" cy="1077913"/>
          </a:xfrm>
          <a:prstGeom prst="rect">
            <a:avLst/>
          </a:prstGeom>
          <a:gradFill flip="none" rotWithShape="1">
            <a:gsLst>
              <a:gs pos="0">
                <a:srgbClr val="00597C">
                  <a:shade val="67500"/>
                  <a:satMod val="115000"/>
                </a:srgbClr>
              </a:gs>
              <a:gs pos="100000">
                <a:srgbClr val="00597C">
                  <a:shade val="100000"/>
                  <a:satMod val="115000"/>
                </a:srgbClr>
              </a:gs>
            </a:gsLst>
            <a:lin ang="54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22B5DC3-FE56-4141-A121-AE96C5CB9E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60741" y="-141608"/>
            <a:ext cx="1995351" cy="1361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7071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F23867B-2CCA-4E12-BED0-A76E45B98D5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F23867B-2CCA-4E12-BED0-A76E45B98D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C64E211-6F7D-4032-A202-3251331C5D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0" name="Arc 19">
            <a:extLst>
              <a:ext uri="{FF2B5EF4-FFF2-40B4-BE49-F238E27FC236}">
                <a16:creationId xmlns:a16="http://schemas.microsoft.com/office/drawing/2014/main" id="{2AE8DA98-6814-4883-81AA-180AB7FCCDE9}"/>
              </a:ext>
            </a:extLst>
          </p:cNvPr>
          <p:cNvSpPr/>
          <p:nvPr/>
        </p:nvSpPr>
        <p:spPr>
          <a:xfrm>
            <a:off x="1504072" y="2460312"/>
            <a:ext cx="1750078" cy="3928320"/>
          </a:xfrm>
          <a:custGeom>
            <a:avLst/>
            <a:gdLst>
              <a:gd name="connsiteX0" fmla="*/ 1613073 w 3363151"/>
              <a:gd name="connsiteY0" fmla="*/ 1630 h 3928308"/>
              <a:gd name="connsiteX1" fmla="*/ 3178845 w 3363151"/>
              <a:gd name="connsiteY1" fmla="*/ 1070100 h 3928308"/>
              <a:gd name="connsiteX2" fmla="*/ 3185279 w 3363151"/>
              <a:gd name="connsiteY2" fmla="*/ 2843353 h 3928308"/>
              <a:gd name="connsiteX3" fmla="*/ 1631157 w 3363151"/>
              <a:gd name="connsiteY3" fmla="*/ 3927425 h 3928308"/>
              <a:gd name="connsiteX4" fmla="*/ 1681576 w 3363151"/>
              <a:gd name="connsiteY4" fmla="*/ 1964154 h 3928308"/>
              <a:gd name="connsiteX5" fmla="*/ 1613073 w 3363151"/>
              <a:gd name="connsiteY5" fmla="*/ 1630 h 3928308"/>
              <a:gd name="connsiteX0" fmla="*/ 1613073 w 3363151"/>
              <a:gd name="connsiteY0" fmla="*/ 1630 h 3928308"/>
              <a:gd name="connsiteX1" fmla="*/ 3178845 w 3363151"/>
              <a:gd name="connsiteY1" fmla="*/ 1070100 h 3928308"/>
              <a:gd name="connsiteX2" fmla="*/ 3185279 w 3363151"/>
              <a:gd name="connsiteY2" fmla="*/ 2843353 h 3928308"/>
              <a:gd name="connsiteX3" fmla="*/ 1631157 w 3363151"/>
              <a:gd name="connsiteY3" fmla="*/ 3927425 h 3928308"/>
              <a:gd name="connsiteX0" fmla="*/ 0 w 1750078"/>
              <a:gd name="connsiteY0" fmla="*/ 1638 h 3928320"/>
              <a:gd name="connsiteX1" fmla="*/ 1565772 w 1750078"/>
              <a:gd name="connsiteY1" fmla="*/ 1070108 h 3928320"/>
              <a:gd name="connsiteX2" fmla="*/ 1572206 w 1750078"/>
              <a:gd name="connsiteY2" fmla="*/ 2843361 h 3928320"/>
              <a:gd name="connsiteX3" fmla="*/ 18084 w 1750078"/>
              <a:gd name="connsiteY3" fmla="*/ 3927433 h 3928320"/>
              <a:gd name="connsiteX4" fmla="*/ 0 w 1750078"/>
              <a:gd name="connsiteY4" fmla="*/ 1638 h 3928320"/>
              <a:gd name="connsiteX0" fmla="*/ 0 w 1750078"/>
              <a:gd name="connsiteY0" fmla="*/ 1638 h 3928320"/>
              <a:gd name="connsiteX1" fmla="*/ 1565772 w 1750078"/>
              <a:gd name="connsiteY1" fmla="*/ 1070108 h 3928320"/>
              <a:gd name="connsiteX2" fmla="*/ 1572206 w 1750078"/>
              <a:gd name="connsiteY2" fmla="*/ 2843361 h 3928320"/>
              <a:gd name="connsiteX3" fmla="*/ 18084 w 1750078"/>
              <a:gd name="connsiteY3" fmla="*/ 3927433 h 3928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50078" h="3928320" stroke="0" extrusionOk="0">
                <a:moveTo>
                  <a:pt x="0" y="1638"/>
                </a:moveTo>
                <a:cubicBezTo>
                  <a:pt x="655706" y="-29588"/>
                  <a:pt x="1267057" y="387592"/>
                  <a:pt x="1565772" y="1070108"/>
                </a:cubicBezTo>
                <a:cubicBezTo>
                  <a:pt x="1809227" y="1626361"/>
                  <a:pt x="1811615" y="2284717"/>
                  <a:pt x="1572206" y="2843361"/>
                </a:cubicBezTo>
                <a:cubicBezTo>
                  <a:pt x="1279076" y="3527357"/>
                  <a:pt x="672650" y="3950367"/>
                  <a:pt x="18084" y="3927433"/>
                </a:cubicBezTo>
                <a:lnTo>
                  <a:pt x="0" y="1638"/>
                </a:lnTo>
                <a:close/>
              </a:path>
              <a:path w="1750078" h="3928320" fill="none">
                <a:moveTo>
                  <a:pt x="0" y="1638"/>
                </a:moveTo>
                <a:cubicBezTo>
                  <a:pt x="655706" y="-29588"/>
                  <a:pt x="1267057" y="387592"/>
                  <a:pt x="1565772" y="1070108"/>
                </a:cubicBezTo>
                <a:cubicBezTo>
                  <a:pt x="1809227" y="1626361"/>
                  <a:pt x="1811615" y="2284717"/>
                  <a:pt x="1572206" y="2843361"/>
                </a:cubicBezTo>
                <a:cubicBezTo>
                  <a:pt x="1279076" y="3527357"/>
                  <a:pt x="672650" y="3950367"/>
                  <a:pt x="18084" y="3927433"/>
                </a:cubicBezTo>
              </a:path>
            </a:pathLst>
          </a:custGeom>
          <a:blipFill dpi="0" rotWithShape="1"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contrast="-3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3295" r="-81171"/>
            </a:stretch>
          </a:blipFill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90139D-093F-45C1-A738-F4D2A2EFA957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7249" y="1036280"/>
            <a:ext cx="10238881" cy="978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sz="3200" dirty="0"/>
              <a:t>We are charting a new course to create a Stronger and Fairer New Jersey economy by focusing on five key goals for 2025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F647010D-C87E-4125-97A9-3C3C504BD13F}"/>
              </a:ext>
            </a:extLst>
          </p:cNvPr>
          <p:cNvCxnSpPr>
            <a:cxnSpLocks/>
          </p:cNvCxnSpPr>
          <p:nvPr/>
        </p:nvCxnSpPr>
        <p:spPr>
          <a:xfrm flipH="1">
            <a:off x="2915700" y="3165533"/>
            <a:ext cx="778606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8A70970D-F1D9-4FA9-9315-D5DB5E08278E}"/>
              </a:ext>
            </a:extLst>
          </p:cNvPr>
          <p:cNvCxnSpPr>
            <a:cxnSpLocks/>
          </p:cNvCxnSpPr>
          <p:nvPr/>
        </p:nvCxnSpPr>
        <p:spPr>
          <a:xfrm flipH="1">
            <a:off x="3243488" y="4009420"/>
            <a:ext cx="74060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4CF4F3AA-8ACC-4204-891F-AE13906F1664}"/>
              </a:ext>
            </a:extLst>
          </p:cNvPr>
          <p:cNvCxnSpPr>
            <a:cxnSpLocks/>
          </p:cNvCxnSpPr>
          <p:nvPr/>
        </p:nvCxnSpPr>
        <p:spPr>
          <a:xfrm flipH="1">
            <a:off x="2897722" y="5713050"/>
            <a:ext cx="770824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55CA306F-D095-4914-8497-C76A4493AF2B}"/>
              </a:ext>
            </a:extLst>
          </p:cNvPr>
          <p:cNvCxnSpPr>
            <a:cxnSpLocks/>
          </p:cNvCxnSpPr>
          <p:nvPr/>
        </p:nvCxnSpPr>
        <p:spPr>
          <a:xfrm flipH="1" flipV="1">
            <a:off x="3233611" y="4853307"/>
            <a:ext cx="7450741" cy="1585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991B3911-1965-48C6-A0BC-37704DA90DB5}"/>
              </a:ext>
            </a:extLst>
          </p:cNvPr>
          <p:cNvGrpSpPr/>
          <p:nvPr/>
        </p:nvGrpSpPr>
        <p:grpSpPr>
          <a:xfrm>
            <a:off x="8367941" y="2021888"/>
            <a:ext cx="184528" cy="250757"/>
            <a:chOff x="4075167" y="1177894"/>
            <a:chExt cx="356632" cy="484632"/>
          </a:xfrm>
          <a:solidFill>
            <a:schemeClr val="accent4"/>
          </a:solidFill>
        </p:grpSpPr>
        <p:sp>
          <p:nvSpPr>
            <p:cNvPr id="55" name="Chevron 77">
              <a:extLst>
                <a:ext uri="{FF2B5EF4-FFF2-40B4-BE49-F238E27FC236}">
                  <a16:creationId xmlns:a16="http://schemas.microsoft.com/office/drawing/2014/main" id="{62E745CB-77D0-4216-ACE1-1FE7B90D3F66}"/>
                </a:ext>
              </a:extLst>
            </p:cNvPr>
            <p:cNvSpPr/>
            <p:nvPr/>
          </p:nvSpPr>
          <p:spPr>
            <a:xfrm>
              <a:off x="4152248" y="1177894"/>
              <a:ext cx="279551" cy="484632"/>
            </a:xfrm>
            <a:prstGeom prst="chevron">
              <a:avLst/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dirty="0">
                <a:solidFill>
                  <a:schemeClr val="tx1"/>
                </a:solidFill>
              </a:endParaRPr>
            </a:p>
          </p:txBody>
        </p:sp>
        <p:sp>
          <p:nvSpPr>
            <p:cNvPr id="65" name="Chevron 78">
              <a:extLst>
                <a:ext uri="{FF2B5EF4-FFF2-40B4-BE49-F238E27FC236}">
                  <a16:creationId xmlns:a16="http://schemas.microsoft.com/office/drawing/2014/main" id="{FF3E0472-B5B7-42F9-A39D-EE3B69D16878}"/>
                </a:ext>
              </a:extLst>
            </p:cNvPr>
            <p:cNvSpPr/>
            <p:nvPr/>
          </p:nvSpPr>
          <p:spPr>
            <a:xfrm>
              <a:off x="4075167" y="1268710"/>
              <a:ext cx="174780" cy="303000"/>
            </a:xfrm>
            <a:prstGeom prst="chevron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73" name="AutoShape 249">
            <a:extLst>
              <a:ext uri="{FF2B5EF4-FFF2-40B4-BE49-F238E27FC236}">
                <a16:creationId xmlns:a16="http://schemas.microsoft.com/office/drawing/2014/main" id="{34D103D5-9F73-454A-B20A-3EE008C6098D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677687" y="2162310"/>
            <a:ext cx="6656434" cy="36321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7" name="AutoShape 249">
            <a:extLst>
              <a:ext uri="{FF2B5EF4-FFF2-40B4-BE49-F238E27FC236}">
                <a16:creationId xmlns:a16="http://schemas.microsoft.com/office/drawing/2014/main" id="{AA2CF517-7A53-4A44-A8E8-D9F496FE7AD4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620110" y="2147265"/>
            <a:ext cx="1956448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3C1EAAA6-17E6-498C-9E99-41CBB20F0195}"/>
              </a:ext>
            </a:extLst>
          </p:cNvPr>
          <p:cNvSpPr txBox="1">
            <a:spLocks/>
          </p:cNvSpPr>
          <p:nvPr/>
        </p:nvSpPr>
        <p:spPr>
          <a:xfrm>
            <a:off x="8620110" y="1895694"/>
            <a:ext cx="1956448" cy="23423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marL="400050" lvl="0" indent="0" defTabSz="895351" eaLnBrk="1" latinLnBrk="0" hangingPunct="1">
              <a:buClr>
                <a:schemeClr val="tx2"/>
              </a:buClr>
              <a:buSzPct val="100000"/>
              <a:defRPr sz="130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45793" lvl="1" indent="-143093" defTabSz="895351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457200" lvl="2" indent="-261938" defTabSz="895351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614363" lvl="3" indent="-155574" defTabSz="895351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749809" lvl="4" indent="-130175" defTabSz="895351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/>
            <a:r>
              <a:rPr lang="en-US" b="1" dirty="0">
                <a:solidFill>
                  <a:schemeClr val="tx2"/>
                </a:solidFill>
                <a:latin typeface="+mn-lt"/>
              </a:rPr>
              <a:t>What it means for NJ?</a:t>
            </a:r>
            <a:endParaRPr lang="en-US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20A47800-1387-485A-BD23-D4F172A16250}"/>
              </a:ext>
            </a:extLst>
          </p:cNvPr>
          <p:cNvSpPr>
            <a:spLocks/>
          </p:cNvSpPr>
          <p:nvPr/>
        </p:nvSpPr>
        <p:spPr bwMode="gray">
          <a:xfrm>
            <a:off x="2382149" y="2588141"/>
            <a:ext cx="313460" cy="310896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3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588D4E6-401F-48F9-A1C3-2384EB3F5005}"/>
              </a:ext>
            </a:extLst>
          </p:cNvPr>
          <p:cNvSpPr txBox="1">
            <a:spLocks/>
          </p:cNvSpPr>
          <p:nvPr/>
        </p:nvSpPr>
        <p:spPr>
          <a:xfrm>
            <a:off x="2910398" y="2440843"/>
            <a:ext cx="4875449" cy="60549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marL="400050" lvl="0" indent="0" defTabSz="895351" eaLnBrk="1" latinLnBrk="0" hangingPunct="1">
              <a:buClr>
                <a:schemeClr val="tx2"/>
              </a:buClr>
              <a:buSzPct val="100000"/>
              <a:defRPr sz="130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45793" lvl="1" indent="-143093" defTabSz="895351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457200" lvl="2" indent="-261938" defTabSz="895351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614363" lvl="3" indent="-155574" defTabSz="895351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749809" lvl="4" indent="-130175" defTabSz="895351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/>
            <a:r>
              <a:rPr lang="en-US" b="1" dirty="0">
                <a:solidFill>
                  <a:schemeClr val="tx2"/>
                </a:solidFill>
                <a:latin typeface="+mn-lt"/>
              </a:rPr>
              <a:t>Driving faster job growth over this time period than all Northeast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 peer states by fostering a better, more supportive business climate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0F2CC24B-11D6-4473-965E-2CA8184DDBC1}"/>
              </a:ext>
            </a:extLst>
          </p:cNvPr>
          <p:cNvSpPr txBox="1">
            <a:spLocks/>
          </p:cNvSpPr>
          <p:nvPr/>
        </p:nvSpPr>
        <p:spPr>
          <a:xfrm>
            <a:off x="8620110" y="2440843"/>
            <a:ext cx="1956448" cy="60549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Aft>
                <a:spcPts val="600"/>
              </a:spcAft>
              <a:buClr>
                <a:srgbClr val="17395D"/>
              </a:buClr>
              <a:buNone/>
              <a:defRPr/>
            </a:pPr>
            <a:r>
              <a:rPr lang="en-US" sz="1300" dirty="0"/>
              <a:t>Approximately 300,000 increase in jobs</a:t>
            </a:r>
            <a:endParaRPr lang="en-US" sz="1300" kern="0" dirty="0">
              <a:solidFill>
                <a:srgbClr val="000000"/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3A21BF77-88F2-4DCF-91E4-55898149B14E}"/>
              </a:ext>
            </a:extLst>
          </p:cNvPr>
          <p:cNvSpPr>
            <a:spLocks/>
          </p:cNvSpPr>
          <p:nvPr/>
        </p:nvSpPr>
        <p:spPr bwMode="gray">
          <a:xfrm>
            <a:off x="2898282" y="3432028"/>
            <a:ext cx="313460" cy="310896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3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FB35E53-4621-48C0-8858-75DDB6AE4B12}"/>
              </a:ext>
            </a:extLst>
          </p:cNvPr>
          <p:cNvSpPr txBox="1">
            <a:spLocks/>
          </p:cNvSpPr>
          <p:nvPr/>
        </p:nvSpPr>
        <p:spPr>
          <a:xfrm>
            <a:off x="3273369" y="3284730"/>
            <a:ext cx="4875449" cy="60549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1" eaLnBrk="1" latinLnBrk="0" hangingPunct="1">
              <a:buClr>
                <a:schemeClr val="tx2"/>
              </a:buClr>
              <a:buSzPct val="100000"/>
              <a:defRPr lang="x-none" sz="1200" baseline="0">
                <a:latin typeface="+mn-lt"/>
              </a:defRPr>
            </a:lvl1pPr>
            <a:lvl2pPr marL="145793" lvl="1" indent="-143093" defTabSz="895351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200" baseline="0">
                <a:latin typeface="+mn-lt"/>
              </a:defRPr>
            </a:lvl2pPr>
            <a:lvl3pPr marL="457200" lvl="2" indent="-261938" defTabSz="895351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200" baseline="0">
                <a:latin typeface="+mn-lt"/>
              </a:defRPr>
            </a:lvl3pPr>
            <a:lvl4pPr marL="614363" lvl="3" indent="-155574" defTabSz="895351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200" baseline="0">
                <a:latin typeface="+mn-lt"/>
              </a:defRPr>
            </a:lvl4pPr>
            <a:lvl5pPr marL="749809" lvl="4" indent="-130175" defTabSz="895351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200" baseline="0">
                <a:latin typeface="+mn-lt"/>
              </a:defRPr>
            </a:lvl5pPr>
            <a:lvl6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300" b="1" dirty="0">
                <a:solidFill>
                  <a:schemeClr val="tx2"/>
                </a:solidFill>
                <a:cs typeface="Calibri" panose="020F0502020204030204" pitchFamily="34" charset="0"/>
              </a:rPr>
              <a:t>Achieving faster median wage growth over this time period than all Northeast</a:t>
            </a:r>
            <a:r>
              <a:rPr lang="en-US" sz="1300" dirty="0">
                <a:cs typeface="Calibri" panose="020F0502020204030204" pitchFamily="34" charset="0"/>
              </a:rPr>
              <a:t> peer states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9C28219-C2EA-4CC1-A2BC-612D6FF5E4F9}"/>
              </a:ext>
            </a:extLst>
          </p:cNvPr>
          <p:cNvSpPr txBox="1">
            <a:spLocks/>
          </p:cNvSpPr>
          <p:nvPr/>
        </p:nvSpPr>
        <p:spPr>
          <a:xfrm>
            <a:off x="8620110" y="3284730"/>
            <a:ext cx="1956448" cy="60549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Aft>
                <a:spcPts val="600"/>
              </a:spcAft>
              <a:buClr>
                <a:srgbClr val="17395D"/>
              </a:buClr>
              <a:buNone/>
              <a:defRPr/>
            </a:pPr>
            <a:r>
              <a:rPr lang="en-US" sz="1300" kern="0" dirty="0">
                <a:solidFill>
                  <a:srgbClr val="000000"/>
                </a:solidFill>
              </a:rPr>
              <a:t>Approximately 4% growth in wages or $1,500+ increase in median wag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126B133-1A15-439F-BBAB-F86DB3149593}"/>
              </a:ext>
            </a:extLst>
          </p:cNvPr>
          <p:cNvSpPr>
            <a:spLocks/>
          </p:cNvSpPr>
          <p:nvPr/>
        </p:nvSpPr>
        <p:spPr bwMode="gray">
          <a:xfrm>
            <a:off x="3076880" y="4271442"/>
            <a:ext cx="313460" cy="310896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3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B1B83A0-E4A2-4676-9D83-01A32EFCC21B}"/>
              </a:ext>
            </a:extLst>
          </p:cNvPr>
          <p:cNvSpPr txBox="1">
            <a:spLocks/>
          </p:cNvSpPr>
          <p:nvPr/>
        </p:nvSpPr>
        <p:spPr>
          <a:xfrm>
            <a:off x="2877704" y="5832246"/>
            <a:ext cx="4875449" cy="79715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1" eaLnBrk="1" latinLnBrk="0" hangingPunct="1">
              <a:buClr>
                <a:schemeClr val="tx2"/>
              </a:buClr>
              <a:buSzPct val="100000"/>
              <a:defRPr lang="x-none" sz="1200" baseline="0">
                <a:latin typeface="+mn-lt"/>
              </a:defRPr>
            </a:lvl1pPr>
            <a:lvl2pPr marL="145793" lvl="1" indent="-143093" defTabSz="895351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200" baseline="0">
                <a:latin typeface="+mn-lt"/>
              </a:defRPr>
            </a:lvl2pPr>
            <a:lvl3pPr marL="457200" lvl="2" indent="-261938" defTabSz="895351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200" baseline="0">
                <a:latin typeface="+mn-lt"/>
              </a:defRPr>
            </a:lvl3pPr>
            <a:lvl4pPr marL="614363" lvl="3" indent="-155574" defTabSz="895351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200" baseline="0">
                <a:latin typeface="+mn-lt"/>
              </a:defRPr>
            </a:lvl4pPr>
            <a:lvl5pPr marL="749809" lvl="4" indent="-130175" defTabSz="895351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200" baseline="0">
                <a:latin typeface="+mn-lt"/>
              </a:defRPr>
            </a:lvl5pPr>
            <a:lvl6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300" b="1" dirty="0">
                <a:solidFill>
                  <a:srgbClr val="094FA3"/>
                </a:solidFill>
                <a:cs typeface="Calibri" panose="020F0502020204030204" pitchFamily="34" charset="0"/>
              </a:rPr>
              <a:t>Encouraging thriving and inclusive New Jersey urban centers </a:t>
            </a:r>
            <a:r>
              <a:rPr lang="en-US" sz="1300" dirty="0">
                <a:cs typeface="Calibri" panose="020F0502020204030204" pitchFamily="34" charset="0"/>
              </a:rPr>
              <a:t>and downtowns by reducing poverty across the state with a specific focus in urban centers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2E0047D-FC8E-48D3-9A7D-6B6430E15C63}"/>
              </a:ext>
            </a:extLst>
          </p:cNvPr>
          <p:cNvSpPr txBox="1">
            <a:spLocks/>
          </p:cNvSpPr>
          <p:nvPr/>
        </p:nvSpPr>
        <p:spPr>
          <a:xfrm>
            <a:off x="8620110" y="5832246"/>
            <a:ext cx="1956448" cy="79715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Aft>
                <a:spcPts val="600"/>
              </a:spcAft>
              <a:buClr>
                <a:srgbClr val="17395D"/>
              </a:buClr>
              <a:buNone/>
              <a:defRPr/>
            </a:pPr>
            <a:r>
              <a:rPr lang="en-US" sz="1300" kern="0" dirty="0">
                <a:solidFill>
                  <a:srgbClr val="000000"/>
                </a:solidFill>
              </a:rPr>
              <a:t>Reduce city poverty rate to state average</a:t>
            </a:r>
            <a:br>
              <a:rPr lang="en-US" sz="1300" kern="0" dirty="0">
                <a:solidFill>
                  <a:srgbClr val="000000"/>
                </a:solidFill>
              </a:rPr>
            </a:br>
            <a:r>
              <a:rPr lang="en-US" sz="1300" kern="0" dirty="0">
                <a:solidFill>
                  <a:srgbClr val="000000"/>
                </a:solidFill>
              </a:rPr>
              <a:t>(approximately 16 p.p. on average)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4EFE508D-1831-4849-B194-D2837CE65824}"/>
              </a:ext>
            </a:extLst>
          </p:cNvPr>
          <p:cNvSpPr>
            <a:spLocks/>
          </p:cNvSpPr>
          <p:nvPr/>
        </p:nvSpPr>
        <p:spPr bwMode="gray">
          <a:xfrm>
            <a:off x="2944054" y="5135658"/>
            <a:ext cx="313460" cy="310896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3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AA33E5A-D903-495A-AB33-6C16F420860B}"/>
              </a:ext>
            </a:extLst>
          </p:cNvPr>
          <p:cNvSpPr txBox="1">
            <a:spLocks/>
          </p:cNvSpPr>
          <p:nvPr/>
        </p:nvSpPr>
        <p:spPr>
          <a:xfrm>
            <a:off x="3253168" y="4988360"/>
            <a:ext cx="4875449" cy="60549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1" eaLnBrk="1" latinLnBrk="0" hangingPunct="1">
              <a:buClr>
                <a:schemeClr val="tx2"/>
              </a:buClr>
              <a:buSzPct val="100000"/>
              <a:defRPr lang="x-none" sz="1200" baseline="0">
                <a:latin typeface="+mn-lt"/>
              </a:defRPr>
            </a:lvl1pPr>
            <a:lvl2pPr marL="145793" lvl="1" indent="-143093" defTabSz="895351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200" baseline="0">
                <a:latin typeface="+mn-lt"/>
              </a:defRPr>
            </a:lvl2pPr>
            <a:lvl3pPr marL="457200" lvl="2" indent="-261938" defTabSz="895351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200" baseline="0">
                <a:latin typeface="+mn-lt"/>
              </a:defRPr>
            </a:lvl3pPr>
            <a:lvl4pPr marL="614363" lvl="3" indent="-155574" defTabSz="895351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200" baseline="0">
                <a:latin typeface="+mn-lt"/>
              </a:defRPr>
            </a:lvl4pPr>
            <a:lvl5pPr marL="749809" lvl="4" indent="-130175" defTabSz="895351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200" baseline="0">
                <a:latin typeface="+mn-lt"/>
              </a:defRPr>
            </a:lvl5pPr>
            <a:lvl6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300" dirty="0">
                <a:cs typeface="Calibri" panose="020F0502020204030204" pitchFamily="34" charset="0"/>
              </a:rPr>
              <a:t>Erasing the </a:t>
            </a:r>
            <a:r>
              <a:rPr lang="en-US" sz="1300" b="1" dirty="0">
                <a:solidFill>
                  <a:schemeClr val="tx2"/>
                </a:solidFill>
                <a:cs typeface="Calibri" panose="020F0502020204030204" pitchFamily="34" charset="0"/>
              </a:rPr>
              <a:t>racial and gender wage and employment gaps</a:t>
            </a:r>
            <a:endParaRPr lang="en-US" sz="1300" dirty="0">
              <a:solidFill>
                <a:schemeClr val="tx2"/>
              </a:solidFill>
              <a:cs typeface="Calibri" panose="020F050202020403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E543BF74-3BD2-48F0-B7F0-48BE218AFE8C}"/>
              </a:ext>
            </a:extLst>
          </p:cNvPr>
          <p:cNvSpPr txBox="1">
            <a:spLocks/>
          </p:cNvSpPr>
          <p:nvPr/>
        </p:nvSpPr>
        <p:spPr>
          <a:xfrm>
            <a:off x="8620110" y="4988360"/>
            <a:ext cx="1956448" cy="60549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Aft>
                <a:spcPts val="600"/>
              </a:spcAft>
              <a:buClr>
                <a:srgbClr val="17395D"/>
              </a:buClr>
              <a:buNone/>
              <a:defRPr/>
            </a:pPr>
            <a:r>
              <a:rPr lang="en-US" sz="1300" kern="0" dirty="0">
                <a:solidFill>
                  <a:srgbClr val="000000"/>
                </a:solidFill>
              </a:rPr>
              <a:t> Approximately 42,000 more women and minorities employed; $15-23K increase in wag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0BEBF5F3-F566-43B8-B006-3B52A2BF3535}"/>
              </a:ext>
            </a:extLst>
          </p:cNvPr>
          <p:cNvSpPr>
            <a:spLocks/>
          </p:cNvSpPr>
          <p:nvPr/>
        </p:nvSpPr>
        <p:spPr bwMode="gray">
          <a:xfrm>
            <a:off x="2388843" y="5979544"/>
            <a:ext cx="313460" cy="310896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3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4E284C7-EAAF-4CEC-9E10-302ED970D612}"/>
              </a:ext>
            </a:extLst>
          </p:cNvPr>
          <p:cNvSpPr txBox="1">
            <a:spLocks/>
          </p:cNvSpPr>
          <p:nvPr/>
        </p:nvSpPr>
        <p:spPr>
          <a:xfrm>
            <a:off x="3428778" y="4124144"/>
            <a:ext cx="4875449" cy="60549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1" eaLnBrk="1" latinLnBrk="0" hangingPunct="1">
              <a:buClr>
                <a:schemeClr val="tx2"/>
              </a:buClr>
              <a:buSzPct val="100000"/>
              <a:defRPr lang="x-none" sz="1200" baseline="0">
                <a:latin typeface="+mn-lt"/>
              </a:defRPr>
            </a:lvl1pPr>
            <a:lvl2pPr marL="145793" lvl="1" indent="-143093" defTabSz="895351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200" baseline="0">
                <a:latin typeface="+mn-lt"/>
              </a:defRPr>
            </a:lvl2pPr>
            <a:lvl3pPr marL="457200" lvl="2" indent="-261938" defTabSz="895351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200" baseline="0">
                <a:latin typeface="+mn-lt"/>
              </a:defRPr>
            </a:lvl3pPr>
            <a:lvl4pPr marL="614363" lvl="3" indent="-155574" defTabSz="895351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200" baseline="0">
                <a:latin typeface="+mn-lt"/>
              </a:defRPr>
            </a:lvl4pPr>
            <a:lvl5pPr marL="749809" lvl="4" indent="-130175" defTabSz="895351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200" baseline="0">
                <a:latin typeface="+mn-lt"/>
              </a:defRPr>
            </a:lvl5pPr>
            <a:lvl6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9" indent="-130175" defTabSz="89535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300" dirty="0">
                <a:cs typeface="Calibri" panose="020F0502020204030204" pitchFamily="34" charset="0"/>
              </a:rPr>
              <a:t>Creating the </a:t>
            </a:r>
            <a:r>
              <a:rPr lang="en-US" sz="1300" b="1" dirty="0">
                <a:solidFill>
                  <a:schemeClr val="tx2"/>
                </a:solidFill>
                <a:cs typeface="Calibri" panose="020F0502020204030204" pitchFamily="34" charset="0"/>
              </a:rPr>
              <a:t>most diverse innovation ecosystem </a:t>
            </a:r>
            <a:r>
              <a:rPr lang="en-US" sz="1300" dirty="0">
                <a:cs typeface="Calibri" panose="020F0502020204030204" pitchFamily="34" charset="0"/>
              </a:rPr>
              <a:t>in the nation and </a:t>
            </a:r>
            <a:r>
              <a:rPr lang="en-US" sz="1300" b="1" dirty="0">
                <a:solidFill>
                  <a:schemeClr val="tx2"/>
                </a:solidFill>
                <a:cs typeface="Calibri" panose="020F0502020204030204" pitchFamily="34" charset="0"/>
              </a:rPr>
              <a:t>doubling venture capital investment </a:t>
            </a:r>
            <a:r>
              <a:rPr lang="en-US" sz="1300" dirty="0">
                <a:cs typeface="Calibri" panose="020F0502020204030204" pitchFamily="34" charset="0"/>
              </a:rPr>
              <a:t>in the stat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0FC768BF-E5A7-4E1A-BB27-8A5687174099}"/>
              </a:ext>
            </a:extLst>
          </p:cNvPr>
          <p:cNvSpPr txBox="1">
            <a:spLocks/>
          </p:cNvSpPr>
          <p:nvPr/>
        </p:nvSpPr>
        <p:spPr>
          <a:xfrm>
            <a:off x="8620110" y="4124144"/>
            <a:ext cx="1956448" cy="60549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Aft>
                <a:spcPts val="600"/>
              </a:spcAft>
              <a:buClr>
                <a:srgbClr val="17395D"/>
              </a:buClr>
              <a:buNone/>
              <a:defRPr/>
            </a:pPr>
            <a:r>
              <a:rPr lang="en-US" sz="1300" kern="0" dirty="0">
                <a:solidFill>
                  <a:srgbClr val="000000"/>
                </a:solidFill>
              </a:rPr>
              <a:t>Approximately 40K more women and minorities in STEM, and $625 million in new VC investmen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49664EF-DF62-4DAA-8C34-C584410B8B4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-11414"/>
            <a:ext cx="12192000" cy="1078992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7C10EAF9-1CF6-40E4-88DE-440E3A11708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60741" y="-141608"/>
            <a:ext cx="1995351" cy="1361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5101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46EAA58-357F-43A8-AA1D-8ACBD92612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10" imgW="451" imgH="450" progId="TCLayout.ActiveDocument.1">
                  <p:embed/>
                </p:oleObj>
              </mc:Choice>
              <mc:Fallback>
                <p:oleObj name="think-cell Slide" r:id="rId10" imgW="451" imgH="45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46EAA58-357F-43A8-AA1D-8ACBD9261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0FEEF5D-FA3C-44C1-8F68-C9B05AE6E1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47CB59F-1B34-4BCB-92CE-DCA97C37FC6C}"/>
              </a:ext>
            </a:extLst>
          </p:cNvPr>
          <p:cNvSpPr/>
          <p:nvPr/>
        </p:nvSpPr>
        <p:spPr>
          <a:xfrm>
            <a:off x="1506379" y="405"/>
            <a:ext cx="9161352" cy="6857798"/>
          </a:xfrm>
          <a:prstGeom prst="rect">
            <a:avLst/>
          </a:prstGeom>
          <a:solidFill>
            <a:srgbClr val="1B76C5"/>
          </a:solidFill>
          <a:ln w="9525">
            <a:solidFill>
              <a:srgbClr val="1B76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5" dirty="0" err="1">
              <a:solidFill>
                <a:schemeClr val="bg1"/>
              </a:solidFill>
            </a:endParaRP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CDD84A0C-C406-440C-901B-1C1199EF443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524270" y="606"/>
          <a:ext cx="9143460" cy="68573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1730">
                  <a:extLst>
                    <a:ext uri="{9D8B030D-6E8A-4147-A177-3AD203B41FA5}">
                      <a16:colId xmlns:a16="http://schemas.microsoft.com/office/drawing/2014/main" val="2427128745"/>
                    </a:ext>
                  </a:extLst>
                </a:gridCol>
                <a:gridCol w="4571730">
                  <a:extLst>
                    <a:ext uri="{9D8B030D-6E8A-4147-A177-3AD203B41FA5}">
                      <a16:colId xmlns:a16="http://schemas.microsoft.com/office/drawing/2014/main" val="3454403557"/>
                    </a:ext>
                  </a:extLst>
                </a:gridCol>
              </a:tblGrid>
              <a:tr h="3428697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3297" marR="93297" marT="46649" marB="46649"/>
                </a:tc>
                <a:extLst>
                  <a:ext uri="{0D108BD9-81ED-4DB2-BD59-A6C34878D82A}">
                    <a16:rowId xmlns:a16="http://schemas.microsoft.com/office/drawing/2014/main" val="3111707406"/>
                  </a:ext>
                </a:extLst>
              </a:tr>
              <a:tr h="3428697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3297" marR="93297" marT="46649" marB="46649"/>
                </a:tc>
                <a:extLst>
                  <a:ext uri="{0D108BD9-81ED-4DB2-BD59-A6C34878D82A}">
                    <a16:rowId xmlns:a16="http://schemas.microsoft.com/office/drawing/2014/main" val="4255056012"/>
                  </a:ext>
                </a:extLst>
              </a:tr>
            </a:tbl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17B19E0-90A5-4DFD-BE38-020E9089D469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887" b="5603"/>
          <a:stretch/>
        </p:blipFill>
        <p:spPr>
          <a:xfrm>
            <a:off x="1478218" y="3442344"/>
            <a:ext cx="4564974" cy="341407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ADD32EA-8779-436A-B043-C6F593602C4F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71" t="-20521" r="4705" b="25928"/>
          <a:stretch/>
        </p:blipFill>
        <p:spPr>
          <a:xfrm>
            <a:off x="1434278" y="-19295"/>
            <a:ext cx="4608915" cy="342213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6FAFBCFD-32CA-452C-91DD-C73AE9368626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7" t="8035" r="9443" b="17079"/>
          <a:stretch/>
        </p:blipFill>
        <p:spPr>
          <a:xfrm>
            <a:off x="6112087" y="861406"/>
            <a:ext cx="4571730" cy="258093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05BE37E4-030B-495B-A1C5-6F8CC92F1A07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98"/>
          <a:stretch/>
        </p:blipFill>
        <p:spPr>
          <a:xfrm>
            <a:off x="6077342" y="3410481"/>
            <a:ext cx="4608281" cy="344752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A0445A81-60D0-43E8-90AD-DD4EB90FDB38}"/>
              </a:ext>
            </a:extLst>
          </p:cNvPr>
          <p:cNvSpPr/>
          <p:nvPr/>
        </p:nvSpPr>
        <p:spPr>
          <a:xfrm>
            <a:off x="1487373" y="-11037"/>
            <a:ext cx="9198248" cy="686903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5" dirty="0" err="1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D3B0D48-90BC-4185-9C47-8AE995EACA24}"/>
              </a:ext>
            </a:extLst>
          </p:cNvPr>
          <p:cNvSpPr/>
          <p:nvPr/>
        </p:nvSpPr>
        <p:spPr>
          <a:xfrm>
            <a:off x="1462287" y="870109"/>
            <a:ext cx="9267429" cy="5991831"/>
          </a:xfrm>
          <a:prstGeom prst="rect">
            <a:avLst/>
          </a:prstGeom>
          <a:solidFill>
            <a:srgbClr val="002060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5" dirty="0" err="1">
              <a:solidFill>
                <a:schemeClr val="tx1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42D4F49-78A5-4A09-9D37-B6D5A3032926}"/>
              </a:ext>
            </a:extLst>
          </p:cNvPr>
          <p:cNvSpPr txBox="1">
            <a:spLocks/>
          </p:cNvSpPr>
          <p:nvPr/>
        </p:nvSpPr>
        <p:spPr>
          <a:xfrm>
            <a:off x="1607576" y="1290918"/>
            <a:ext cx="4271728" cy="18226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ng in people</a:t>
            </a:r>
            <a:r>
              <a:rPr lang="en-US" sz="3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help </a:t>
            </a:r>
            <a:r>
              <a:rPr lang="en-US" sz="2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</a:t>
            </a:r>
            <a:r>
              <a:rPr 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ew Jersey residents find meaningful work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11DD40F-8268-48A3-80ED-F69DA635152C}"/>
              </a:ext>
            </a:extLst>
          </p:cNvPr>
          <p:cNvSpPr txBox="1">
            <a:spLocks/>
          </p:cNvSpPr>
          <p:nvPr/>
        </p:nvSpPr>
        <p:spPr>
          <a:xfrm>
            <a:off x="6258907" y="1290918"/>
            <a:ext cx="4271728" cy="18226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ng in communities</a:t>
            </a:r>
            <a:r>
              <a:rPr lang="en-US" sz="3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build world-class cities, towns, and infrastructur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15982AC-EDF8-40A0-B0C3-E66A7CB41832}"/>
              </a:ext>
            </a:extLst>
          </p:cNvPr>
          <p:cNvSpPr txBox="1">
            <a:spLocks/>
          </p:cNvSpPr>
          <p:nvPr/>
        </p:nvSpPr>
        <p:spPr>
          <a:xfrm>
            <a:off x="1590501" y="3910590"/>
            <a:ext cx="4271728" cy="230832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king New Jersey the State of Innovation </a:t>
            </a:r>
          </a:p>
          <a:p>
            <a:r>
              <a:rPr 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create more and better jobs across the stat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C6B2DCA-1266-43EB-90BF-886A85B66485}"/>
              </a:ext>
            </a:extLst>
          </p:cNvPr>
          <p:cNvSpPr txBox="1">
            <a:spLocks/>
          </p:cNvSpPr>
          <p:nvPr/>
        </p:nvSpPr>
        <p:spPr>
          <a:xfrm>
            <a:off x="6258908" y="3910590"/>
            <a:ext cx="4347113" cy="230832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king government work better</a:t>
            </a:r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improve New Jersey’s competitiveness and business climat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D542B5B-98E3-4399-A8E7-2980DFBD0C94}"/>
              </a:ext>
            </a:extLst>
          </p:cNvPr>
          <p:cNvCxnSpPr>
            <a:cxnSpLocks/>
          </p:cNvCxnSpPr>
          <p:nvPr/>
        </p:nvCxnSpPr>
        <p:spPr>
          <a:xfrm flipV="1">
            <a:off x="1357405" y="3427999"/>
            <a:ext cx="9477190" cy="13041"/>
          </a:xfrm>
          <a:prstGeom prst="line">
            <a:avLst/>
          </a:prstGeom>
          <a:ln w="1016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2E2D645-0DA2-4002-8819-B87C1B119AE3}"/>
              </a:ext>
            </a:extLst>
          </p:cNvPr>
          <p:cNvCxnSpPr>
            <a:cxnSpLocks/>
          </p:cNvCxnSpPr>
          <p:nvPr/>
        </p:nvCxnSpPr>
        <p:spPr>
          <a:xfrm>
            <a:off x="6096000" y="-5519"/>
            <a:ext cx="0" cy="6869038"/>
          </a:xfrm>
          <a:prstGeom prst="line">
            <a:avLst/>
          </a:prstGeom>
          <a:ln w="1016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8FE34EA-B67E-4216-B772-A7124EE3C7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11BDB0E-3D7F-4F79-AC48-62FDBA7050E5}"/>
              </a:ext>
            </a:extLst>
          </p:cNvPr>
          <p:cNvSpPr/>
          <p:nvPr/>
        </p:nvSpPr>
        <p:spPr>
          <a:xfrm>
            <a:off x="1470252" y="-2334"/>
            <a:ext cx="9232490" cy="85548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65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Marvintrackercircle">
            <a:extLst>
              <a:ext uri="{FF2B5EF4-FFF2-40B4-BE49-F238E27FC236}">
                <a16:creationId xmlns:a16="http://schemas.microsoft.com/office/drawing/2014/main" id="{F947A0C6-7334-4465-A31B-D9DFF0A69D1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07576" y="914555"/>
            <a:ext cx="284480" cy="28448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600" b="1" dirty="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33" name="Marvintrackercircle">
            <a:extLst>
              <a:ext uri="{FF2B5EF4-FFF2-40B4-BE49-F238E27FC236}">
                <a16:creationId xmlns:a16="http://schemas.microsoft.com/office/drawing/2014/main" id="{CC4745EE-49C8-4E91-B931-12A1D6619D4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258907" y="914555"/>
            <a:ext cx="284480" cy="28448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600" b="1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34" name="Marvintrackercircle">
            <a:extLst>
              <a:ext uri="{FF2B5EF4-FFF2-40B4-BE49-F238E27FC236}">
                <a16:creationId xmlns:a16="http://schemas.microsoft.com/office/drawing/2014/main" id="{E0A4DF04-83A1-4911-8127-3D8DF2D52B2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607576" y="3577634"/>
            <a:ext cx="284480" cy="28448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600" b="1" dirty="0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35" name="Marvintrackercircle">
            <a:extLst>
              <a:ext uri="{FF2B5EF4-FFF2-40B4-BE49-F238E27FC236}">
                <a16:creationId xmlns:a16="http://schemas.microsoft.com/office/drawing/2014/main" id="{B1AFBED0-51E1-47B5-B3B9-94EC3418AE4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258907" y="3577634"/>
            <a:ext cx="284480" cy="28448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600" b="1" dirty="0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EB8AE14-0090-432B-82A7-7E6C8BDEDF80}"/>
              </a:ext>
            </a:extLst>
          </p:cNvPr>
          <p:cNvSpPr/>
          <p:nvPr/>
        </p:nvSpPr>
        <p:spPr bwMode="auto">
          <a:xfrm>
            <a:off x="0" y="-2"/>
            <a:ext cx="12192000" cy="844949"/>
          </a:xfrm>
          <a:prstGeom prst="rect">
            <a:avLst/>
          </a:prstGeom>
          <a:gradFill flip="none" rotWithShape="1">
            <a:gsLst>
              <a:gs pos="0">
                <a:srgbClr val="00597C">
                  <a:shade val="67500"/>
                  <a:satMod val="115000"/>
                </a:srgbClr>
              </a:gs>
              <a:gs pos="100000">
                <a:srgbClr val="00597C">
                  <a:shade val="100000"/>
                  <a:satMod val="115000"/>
                </a:srgbClr>
              </a:gs>
            </a:gsLst>
            <a:lin ang="54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D1AFDC82-1FDF-47B0-81FA-609359D76FBF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860742" y="-141608"/>
            <a:ext cx="1840192" cy="1255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4385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AE2AADC-A015-4505-AE59-0B21F191A1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7" imgW="451" imgH="450" progId="TCLayout.ActiveDocument.1">
                  <p:embed/>
                </p:oleObj>
              </mc:Choice>
              <mc:Fallback>
                <p:oleObj name="think-cell Slide" r:id="rId7" imgW="451" imgH="45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AE2AADC-A015-4505-AE59-0B21F191A1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42AFA74-1AC4-43C0-B681-1D31A00E77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16" name="AutoShape 249">
            <a:extLst>
              <a:ext uri="{FF2B5EF4-FFF2-40B4-BE49-F238E27FC236}">
                <a16:creationId xmlns:a16="http://schemas.microsoft.com/office/drawing/2014/main" id="{D989E4DF-3849-447F-A639-5876C77EFF7D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703882" y="1620733"/>
            <a:ext cx="8784232" cy="5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AutoShape 250">
            <a:extLst>
              <a:ext uri="{FF2B5EF4-FFF2-40B4-BE49-F238E27FC236}">
                <a16:creationId xmlns:a16="http://schemas.microsoft.com/office/drawing/2014/main" id="{ADE04689-F0A8-4389-9EA0-9287431711B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5599" y="979994"/>
            <a:ext cx="10191786" cy="37852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r>
              <a:rPr lang="en-US" sz="2400" b="1" dirty="0">
                <a:solidFill>
                  <a:schemeClr val="tx2"/>
                </a:solidFill>
                <a:cs typeface="Arial" panose="020B0604020202020204" pitchFamily="34" charset="0"/>
              </a:rPr>
              <a:t>Signature EDA efforts to meet </a:t>
            </a:r>
            <a:r>
              <a:rPr lang="en-US" sz="2400" b="1">
                <a:solidFill>
                  <a:schemeClr val="tx2"/>
                </a:solidFill>
                <a:cs typeface="Arial" panose="020B0604020202020204" pitchFamily="34" charset="0"/>
              </a:rPr>
              <a:t>our goals</a:t>
            </a:r>
            <a:endParaRPr lang="en-US" sz="24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20" name="Rectangle 45">
            <a:extLst>
              <a:ext uri="{FF2B5EF4-FFF2-40B4-BE49-F238E27FC236}">
                <a16:creationId xmlns:a16="http://schemas.microsoft.com/office/drawing/2014/main" id="{4C57662D-046B-4232-A53F-DB462EC99D0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193799" y="1638116"/>
            <a:ext cx="9694333" cy="5219879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2400" b="1" dirty="0"/>
              <a:t>Opportunity Zone strategies</a:t>
            </a:r>
          </a:p>
          <a:p>
            <a:pPr lvl="2"/>
            <a:r>
              <a:rPr lang="en-US" sz="2400" dirty="0">
                <a:highlight>
                  <a:srgbClr val="00FFFF"/>
                </a:highlight>
              </a:rPr>
              <a:t>Create a digital marketplace at NJEDA </a:t>
            </a:r>
            <a:r>
              <a:rPr lang="en-US" sz="2400" dirty="0"/>
              <a:t>and partner with “One-Stop Shop” at DCA to help guide municipalities and “Ready to Go” investment projects through NJRA</a:t>
            </a:r>
          </a:p>
          <a:p>
            <a:pPr marL="0" lvl="1" indent="-68263">
              <a:buNone/>
            </a:pPr>
            <a:r>
              <a:rPr lang="en-US" sz="2400" b="1" dirty="0"/>
              <a:t>New place-based incentive program, NJ Aspire</a:t>
            </a:r>
          </a:p>
          <a:p>
            <a:pPr lvl="2"/>
            <a:r>
              <a:rPr lang="en-US" sz="2400" dirty="0"/>
              <a:t>Help to catalyze investments in commercial, residential and mixed-use (including parking) projects, with a particular focus on cities, downtowns and suburban neighborhoods served by mass transit.</a:t>
            </a:r>
          </a:p>
          <a:p>
            <a:pPr marL="1587" lvl="1" indent="0">
              <a:buNone/>
            </a:pPr>
            <a:r>
              <a:rPr lang="en-US" sz="2400" b="1" dirty="0"/>
              <a:t>Brownfield redevelopment incentive program</a:t>
            </a:r>
          </a:p>
          <a:p>
            <a:pPr lvl="2"/>
            <a:r>
              <a:rPr lang="en-US" sz="2400" dirty="0"/>
              <a:t>Develop an enhanced incentive program and EDA loan fund to work with DEP to support brownfield redevelopment.</a:t>
            </a:r>
          </a:p>
          <a:p>
            <a:pPr marL="1587" lvl="1" indent="0">
              <a:buNone/>
            </a:pPr>
            <a:r>
              <a:rPr lang="en-US" sz="2400" b="1" dirty="0"/>
              <a:t>Historic preservation tax credit program </a:t>
            </a:r>
          </a:p>
          <a:p>
            <a:pPr lvl="2"/>
            <a:r>
              <a:rPr lang="en-US" sz="2400" dirty="0"/>
              <a:t>Support revitalization of historic buildings, primarily in urban areas- “New ideas need old buildings”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246151D-EE0C-4FFA-BDF1-A64B10CC2533}"/>
              </a:ext>
            </a:extLst>
          </p:cNvPr>
          <p:cNvSpPr/>
          <p:nvPr/>
        </p:nvSpPr>
        <p:spPr bwMode="auto">
          <a:xfrm>
            <a:off x="0" y="-2"/>
            <a:ext cx="12192000" cy="844949"/>
          </a:xfrm>
          <a:prstGeom prst="rect">
            <a:avLst/>
          </a:prstGeom>
          <a:gradFill flip="none" rotWithShape="1">
            <a:gsLst>
              <a:gs pos="0">
                <a:srgbClr val="00597C">
                  <a:shade val="67500"/>
                  <a:satMod val="115000"/>
                </a:srgbClr>
              </a:gs>
              <a:gs pos="100000">
                <a:srgbClr val="00597C">
                  <a:shade val="100000"/>
                  <a:satMod val="115000"/>
                </a:srgbClr>
              </a:gs>
            </a:gsLst>
            <a:lin ang="54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7F083B1-3548-405A-A91F-777B63ED268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60742" y="-141608"/>
            <a:ext cx="1840192" cy="1255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2569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civfBhQDSfjuMCWxJa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dOOIS1OEi.vH0DjL4p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arnuYhR02FUjs500Ks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3Fu1yCTK2YbQ0hUDIc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deaCieTMSkySu9Emxu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</TotalTime>
  <Words>514</Words>
  <Application>Microsoft Office PowerPoint</Application>
  <PresentationFormat>Widescreen</PresentationFormat>
  <Paragraphs>45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ＭＳ Ｐゴシック</vt:lpstr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We are charting a new course to create a Stronger and Fairer New Jersey economy by focusing on five key goals for 2025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lison Kopicki</dc:creator>
  <cp:lastModifiedBy>Wheeler, Christopher</cp:lastModifiedBy>
  <cp:revision>5</cp:revision>
  <dcterms:created xsi:type="dcterms:W3CDTF">2018-11-09T20:35:15Z</dcterms:created>
  <dcterms:modified xsi:type="dcterms:W3CDTF">2018-11-16T22:21:50Z</dcterms:modified>
</cp:coreProperties>
</file>